
<file path=[Content_Types].xml><?xml version="1.0" encoding="utf-8"?>
<Types xmlns="http://schemas.openxmlformats.org/package/2006/content-types"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www.infraware.co.kr/2012/infrawarePen" Target="docProps/infrawarePe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6"/>
  </p:notesMasterIdLst>
  <p:handoutMasterIdLst>
    <p:handoutMasterId r:id="rId7"/>
  </p:handoutMasterIdLst>
  <p:sldIdLst>
    <p:sldId id="278" r:id="rId2"/>
    <p:sldId id="285" r:id="rId3"/>
    <p:sldId id="299" r:id="rId4"/>
    <p:sldId id="326" r:id="rId5"/>
  </p:sldIdLst>
  <p:sldSz cx="9144000" cy="6858000" type="screen4x3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6" userDrawn="1">
          <p15:clr>
            <a:srgbClr val="A4A3A4"/>
          </p15:clr>
        </p15:guide>
        <p15:guide id="2" pos="2265" userDrawn="1">
          <p15:clr>
            <a:srgbClr val="A4A3A4"/>
          </p15:clr>
        </p15:guide>
        <p15:guide id="3" orient="horz" pos="2932" userDrawn="1">
          <p15:clr>
            <a:srgbClr val="A4A3A4"/>
          </p15:clr>
        </p15:guide>
        <p15:guide id="4" pos="221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69E"/>
    <a:srgbClr val="FF5050"/>
    <a:srgbClr val="FF7C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447" autoAdjust="0"/>
    <p:restoredTop sz="93155" autoAdjust="0"/>
  </p:normalViewPr>
  <p:slideViewPr>
    <p:cSldViewPr>
      <p:cViewPr varScale="1">
        <p:scale>
          <a:sx n="106" d="100"/>
          <a:sy n="106" d="100"/>
        </p:scale>
        <p:origin x="1928" y="8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2813"/>
    </p:cViewPr>
  </p:sorterViewPr>
  <p:notesViewPr>
    <p:cSldViewPr>
      <p:cViewPr varScale="1">
        <p:scale>
          <a:sx n="65" d="100"/>
          <a:sy n="65" d="100"/>
        </p:scale>
        <p:origin x="-3288" y="-114"/>
      </p:cViewPr>
      <p:guideLst>
        <p:guide orient="horz" pos="2936"/>
        <p:guide pos="2265"/>
        <p:guide orient="horz" pos="2932"/>
        <p:guide pos="221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43238" cy="465138"/>
          </a:xfrm>
          <a:prstGeom prst="rect">
            <a:avLst/>
          </a:prstGeom>
        </p:spPr>
        <p:txBody>
          <a:bodyPr vert="horz" lIns="91429" tIns="45714" rIns="91429" bIns="4571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1429" tIns="45714" rIns="91429" bIns="45714" rtlCol="0"/>
          <a:lstStyle>
            <a:lvl1pPr algn="r">
              <a:defRPr sz="1200"/>
            </a:lvl1pPr>
          </a:lstStyle>
          <a:p>
            <a:fld id="{A8782089-6BC6-4235-B712-F8742B9D4234}" type="datetimeFigureOut">
              <a:rPr lang="en-US" smtClean="0"/>
              <a:pPr/>
              <a:t>8/13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842376"/>
            <a:ext cx="3043238" cy="465138"/>
          </a:xfrm>
          <a:prstGeom prst="rect">
            <a:avLst/>
          </a:prstGeom>
        </p:spPr>
        <p:txBody>
          <a:bodyPr vert="horz" lIns="91429" tIns="45714" rIns="91429" bIns="4571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6"/>
            <a:ext cx="3043238" cy="465138"/>
          </a:xfrm>
          <a:prstGeom prst="rect">
            <a:avLst/>
          </a:prstGeom>
        </p:spPr>
        <p:txBody>
          <a:bodyPr vert="horz" lIns="91429" tIns="45714" rIns="91429" bIns="45714" rtlCol="0" anchor="b"/>
          <a:lstStyle>
            <a:lvl1pPr algn="r">
              <a:defRPr sz="1200"/>
            </a:lvl1pPr>
          </a:lstStyle>
          <a:p>
            <a:fld id="{75612B8F-7C36-4EC9-BD17-68C48F5CD98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77189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43343" cy="465455"/>
          </a:xfrm>
          <a:prstGeom prst="rect">
            <a:avLst/>
          </a:prstGeom>
        </p:spPr>
        <p:txBody>
          <a:bodyPr vert="horz" lIns="95071" tIns="47534" rIns="95071" bIns="4753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7" y="0"/>
            <a:ext cx="3043343" cy="465455"/>
          </a:xfrm>
          <a:prstGeom prst="rect">
            <a:avLst/>
          </a:prstGeom>
        </p:spPr>
        <p:txBody>
          <a:bodyPr vert="horz" lIns="95071" tIns="47534" rIns="95071" bIns="47534" rtlCol="0"/>
          <a:lstStyle>
            <a:lvl1pPr algn="r">
              <a:defRPr sz="1200"/>
            </a:lvl1pPr>
          </a:lstStyle>
          <a:p>
            <a:fld id="{CEB96F95-300C-4A3F-BDC6-417068EB1BB3}" type="datetimeFigureOut">
              <a:rPr lang="en-US" smtClean="0"/>
              <a:pPr/>
              <a:t>8/13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071" tIns="47534" rIns="95071" bIns="47534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21828"/>
            <a:ext cx="5618480" cy="4189095"/>
          </a:xfrm>
          <a:prstGeom prst="rect">
            <a:avLst/>
          </a:prstGeom>
        </p:spPr>
        <p:txBody>
          <a:bodyPr vert="horz" lIns="95071" tIns="47534" rIns="95071" bIns="47534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42034"/>
            <a:ext cx="3043343" cy="465455"/>
          </a:xfrm>
          <a:prstGeom prst="rect">
            <a:avLst/>
          </a:prstGeom>
        </p:spPr>
        <p:txBody>
          <a:bodyPr vert="horz" lIns="95071" tIns="47534" rIns="95071" bIns="4753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7" y="8842034"/>
            <a:ext cx="3043343" cy="465455"/>
          </a:xfrm>
          <a:prstGeom prst="rect">
            <a:avLst/>
          </a:prstGeom>
        </p:spPr>
        <p:txBody>
          <a:bodyPr vert="horz" lIns="95071" tIns="47534" rIns="95071" bIns="47534" rtlCol="0" anchor="b"/>
          <a:lstStyle>
            <a:lvl1pPr algn="r">
              <a:defRPr sz="1200"/>
            </a:lvl1pPr>
          </a:lstStyle>
          <a:p>
            <a:fld id="{DDE3C4EC-FA30-4BAF-8816-853426F570D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263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50635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49612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998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747713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63" y="3752850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8333" b="39000"/>
          <a:stretch>
            <a:fillRect/>
          </a:stretch>
        </p:blipFill>
        <p:spPr bwMode="auto">
          <a:xfrm>
            <a:off x="1012825" y="1562100"/>
            <a:ext cx="6386513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3962400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Insert title her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5105400"/>
            <a:ext cx="3352800" cy="762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19200" y="4593770"/>
            <a:ext cx="5867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n-US" b="1" u="sng" dirty="0" smtClean="0">
              <a:latin typeface="+mj-lt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4528458"/>
            <a:ext cx="4572000" cy="4572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Insert subtitle here</a:t>
            </a:r>
          </a:p>
        </p:txBody>
      </p:sp>
    </p:spTree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" name="Rectangle 10"/>
          <p:cNvSpPr/>
          <p:nvPr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/>
              <a:pPr/>
              <a:t>8/13/2018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8/13/2018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1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1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/>
              <a:pPr/>
              <a:t>8/13/2018</a:t>
            </a:fld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/>
              <a:pPr/>
              <a:t>8/13/2018</a:t>
            </a:fld>
            <a:endParaRPr lang="en-US" dirty="0"/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1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72" y="1243330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5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3118715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chapter nam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61872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5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75" y="6280150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/>
              <a:pPr algn="r" eaLnBrk="1" hangingPunct="1">
                <a:defRPr/>
              </a:pPr>
              <a:t>‹#›</a:t>
            </a:fld>
            <a:endParaRPr lang="en-US" altLang="en-US" sz="1000" dirty="0" smtClean="0"/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endParaRPr lang="en-US" dirty="0" smtClean="0"/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0" y="6269038"/>
            <a:ext cx="1673225" cy="155575"/>
          </a:xfrm>
          <a:prstGeom prst="rect">
            <a:avLst/>
          </a:prstGeom>
        </p:spPr>
        <p:txBody>
          <a:bodyPr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/>
              <a:pPr/>
              <a:t>8/13/2018</a:t>
            </a:fld>
            <a:endParaRPr lang="en-US" dirty="0"/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64" r:id="rId2"/>
    <p:sldLayoutId id="2147483662" r:id="rId3"/>
    <p:sldLayoutId id="2147483663" r:id="rId4"/>
    <p:sldLayoutId id="2147483673" r:id="rId5"/>
    <p:sldLayoutId id="2147483677" r:id="rId6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3886200"/>
            <a:ext cx="7391400" cy="466344"/>
          </a:xfrm>
        </p:spPr>
        <p:txBody>
          <a:bodyPr/>
          <a:lstStyle/>
          <a:p>
            <a:r>
              <a:rPr lang="en-US" sz="2400" dirty="0" smtClean="0"/>
              <a:t>General Manager’s Remarks</a:t>
            </a:r>
            <a:endParaRPr lang="en-US" sz="24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219200" y="5257800"/>
            <a:ext cx="3352800" cy="762000"/>
          </a:xfrm>
        </p:spPr>
        <p:txBody>
          <a:bodyPr/>
          <a:lstStyle/>
          <a:p>
            <a:r>
              <a:rPr lang="en-US" sz="2000" dirty="0" smtClean="0"/>
              <a:t>August 13, 2018</a:t>
            </a:r>
            <a:endParaRPr lang="en-US" sz="20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219200" y="4528458"/>
            <a:ext cx="7315200" cy="457200"/>
          </a:xfrm>
        </p:spPr>
        <p:txBody>
          <a:bodyPr/>
          <a:lstStyle/>
          <a:p>
            <a:r>
              <a:rPr lang="en-US" sz="2000" dirty="0" smtClean="0"/>
              <a:t>Fiscal </a:t>
            </a:r>
            <a:r>
              <a:rPr lang="en-US" sz="2000" dirty="0" smtClean="0"/>
              <a:t>and Management Control </a:t>
            </a:r>
            <a:r>
              <a:rPr lang="en-US" sz="2000" dirty="0" smtClean="0"/>
              <a:t>Board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979922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Agenda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462684" y="1752600"/>
            <a:ext cx="8348472" cy="443849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1"/>
                </a:solidFill>
              </a:rPr>
              <a:t>Alewife garage upd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1"/>
                </a:solidFill>
              </a:rPr>
              <a:t>Pay Go capital update</a:t>
            </a:r>
            <a:endParaRPr lang="en-US" sz="24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2630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Alewife garage update </a:t>
            </a:r>
            <a:endParaRPr lang="en-US" sz="2400" i="1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467939" y="1514856"/>
            <a:ext cx="4256461" cy="4504944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Garage reopened to full capacity this mor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Enhanced monitoring includes nightly inspections to ensure safe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Planned closure for weekend of 8/18-8/19 for follow-up assess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Project advertised in July, awarded last week to invest $5.7 million in garage repairs in Sep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Next step: advance development of long-term plan for facility</a:t>
            </a:r>
            <a:endParaRPr lang="en-US" sz="20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tx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00600" y="2133600"/>
            <a:ext cx="3919538" cy="268342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8986333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Pay Go capital update </a:t>
            </a:r>
            <a:endParaRPr lang="en-US" sz="2400" i="1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467939" y="1514856"/>
            <a:ext cx="4256461" cy="4504944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Up to $500 million from Additional State Assistance for Pay G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Savings in operating budget translates into expanded capacity for capital investment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Specifically, customer-facing or unplanned needs, without harming established CIP priorit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Direct result of the commitment from FMCB, Secretary, and Chief Administrator Abramo </a:t>
            </a:r>
            <a:endParaRPr lang="en-US" sz="20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tx1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29200" y="2286000"/>
            <a:ext cx="3680021" cy="26908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115250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heme/theme1.xml><?xml version="1.0" encoding="utf-8"?>
<a:theme xmlns:a="http://schemas.openxmlformats.org/drawingml/2006/main" name="Presentation3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cmpd="tri">
          <a:solidFill>
            <a:schemeClr val="tx1"/>
          </a:solidFill>
          <a:headEnd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4197</TotalTime>
  <Pages>5</Pages>
  <Words>133</Words>
  <Characters>0</Characters>
  <Application>Microsoft Office PowerPoint</Application>
  <DocSecurity>0</DocSecurity>
  <PresentationFormat>On-screen Show (4:3)</PresentationFormat>
  <Lines>0</Lines>
  <Paragraphs>20</Paragraphs>
  <Slides>4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8" baseType="lpstr">
      <vt:lpstr>Arial</vt:lpstr>
      <vt:lpstr>Calibri</vt:lpstr>
      <vt:lpstr>Verdana</vt:lpstr>
      <vt:lpstr>Presentation3</vt:lpstr>
      <vt:lpstr>General Manager’s Remarks</vt:lpstr>
      <vt:lpstr>Agenda </vt:lpstr>
      <vt:lpstr>Alewife garage update </vt:lpstr>
      <vt:lpstr>Pay Go capital update </vt:lpstr>
    </vt:vector>
  </TitlesOfParts>
  <LinksUpToDate>false</LinksUpToDate>
  <CharactersWithSpaces>0</CharactersWithSpaces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YTD Capital spending has been lower than expected due to delays in GLX and Other projects</dc:title>
  <dc:creator>srashin</dc:creator>
  <cp:lastModifiedBy>Verseckes, Michael</cp:lastModifiedBy>
  <cp:revision>776</cp:revision>
  <cp:lastPrinted>2018-06-04T14:30:53Z</cp:lastPrinted>
  <dcterms:modified xsi:type="dcterms:W3CDTF">2018-08-13T15:49:29Z</dcterms:modified>
</cp:coreProperties>
</file>

<file path=docProps/infrawarePen.xml><?xml version="1.0" encoding="utf-8"?>
<InfrawarePenDraw xmlns="http://www.infraware.co.kr/2012/penmode"/>
</file>